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334" r:id="rId8"/>
    <p:sldId id="299" r:id="rId9"/>
    <p:sldId id="275" r:id="rId10"/>
    <p:sldId id="335" r:id="rId11"/>
    <p:sldId id="322" r:id="rId12"/>
    <p:sldId id="321" r:id="rId13"/>
    <p:sldId id="323" r:id="rId14"/>
    <p:sldId id="336" r:id="rId15"/>
    <p:sldId id="325" r:id="rId16"/>
    <p:sldId id="287" r:id="rId17"/>
    <p:sldId id="337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3264C8"/>
    <a:srgbClr val="7F9FDF"/>
    <a:srgbClr val="003399"/>
    <a:srgbClr val="A7BDE9"/>
    <a:srgbClr val="C8D8E6"/>
    <a:srgbClr val="FFFFFF"/>
    <a:srgbClr val="0000FF"/>
    <a:srgbClr val="CCFFCC"/>
    <a:srgbClr val="DFE8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47" autoAdjust="0"/>
    <p:restoredTop sz="93073" autoAdjust="0"/>
  </p:normalViewPr>
  <p:slideViewPr>
    <p:cSldViewPr showGuides="1">
      <p:cViewPr>
        <p:scale>
          <a:sx n="122" d="100"/>
          <a:sy n="122" d="100"/>
        </p:scale>
        <p:origin x="728" y="1072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9056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6999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1835070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rporate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6929715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complex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</a:t>
            </a:r>
            <a:r>
              <a:rPr lang="en-US" sz="1400" b="1" dirty="0">
                <a:solidFill>
                  <a:srgbClr val="003399"/>
                </a:solidFill>
              </a:rPr>
              <a:t>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2435252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blem Statement: 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365705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</a:t>
            </a: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 complex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41000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42061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 dirty="0"/>
              <a:t>B4P</a:t>
            </a:r>
            <a:r>
              <a:rPr dirty="0"/>
              <a:t> </a:t>
            </a:r>
            <a:r>
              <a:rPr lang="en-US" dirty="0"/>
              <a:t>Data Integration and Analytics Engine</a:t>
            </a:r>
            <a:endParaRPr dirty="0"/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231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208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216641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566604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390478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407517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dirty="0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896172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367361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713530" y="3890690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57800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352009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0000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dirty="0"/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684857" y="2865580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540811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982383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8336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888133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586143" y="3004828"/>
            <a:ext cx="442056" cy="442055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Right Arrow 3">
            <a:extLst>
              <a:ext uri="{FF2B5EF4-FFF2-40B4-BE49-F238E27FC236}">
                <a16:creationId xmlns:a16="http://schemas.microsoft.com/office/drawing/2014/main" id="{EB666A14-3F67-4F4B-88DE-07C28797F69A}"/>
              </a:ext>
            </a:extLst>
          </p:cNvPr>
          <p:cNvSpPr/>
          <p:nvPr/>
        </p:nvSpPr>
        <p:spPr>
          <a:xfrm>
            <a:off x="4730524" y="3141000"/>
            <a:ext cx="285476" cy="26808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ight Arrow 79">
            <a:extLst>
              <a:ext uri="{FF2B5EF4-FFF2-40B4-BE49-F238E27FC236}">
                <a16:creationId xmlns:a16="http://schemas.microsoft.com/office/drawing/2014/main" id="{98FF3686-B80C-494A-B31F-82A30EE30F64}"/>
              </a:ext>
            </a:extLst>
          </p:cNvPr>
          <p:cNvSpPr/>
          <p:nvPr/>
        </p:nvSpPr>
        <p:spPr>
          <a:xfrm>
            <a:off x="6888000" y="3141390"/>
            <a:ext cx="285476" cy="26808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851" y="1339577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046921" y="5300647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828" y="1501426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0635" y="1543956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1560000" y="4760618"/>
            <a:ext cx="8856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4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5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Solution: 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342509" y="587696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3854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3079109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5153854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369854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74101" y="5117854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274598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5639392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Integration and Analytics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pic>
        <p:nvPicPr>
          <p:cNvPr id="10" name="excel2.png" descr="excel2.png">
            <a:extLst>
              <a:ext uri="{FF2B5EF4-FFF2-40B4-BE49-F238E27FC236}">
                <a16:creationId xmlns:a16="http://schemas.microsoft.com/office/drawing/2014/main" id="{E2F77106-352E-5E43-AEE6-DF969917DA2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4944000" y="1551788"/>
            <a:ext cx="442056" cy="44205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excel2.png" descr="excel2.png">
            <a:extLst>
              <a:ext uri="{FF2B5EF4-FFF2-40B4-BE49-F238E27FC236}">
                <a16:creationId xmlns:a16="http://schemas.microsoft.com/office/drawing/2014/main" id="{4F399EEB-BB9F-8C40-B6CC-A7415A44C2F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10992000" y="1438821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741</TotalTime>
  <Words>5952</Words>
  <Application>Microsoft Macintosh PowerPoint</Application>
  <PresentationFormat>Widescreen</PresentationFormat>
  <Paragraphs>791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a low-code analytics engine</vt:lpstr>
      <vt:lpstr>PowerPoint Presentation</vt:lpstr>
      <vt:lpstr>B4P Integration and Analytics Engine Based on 14 Years of Experience Solving Problems in a Global Corporation</vt:lpstr>
      <vt:lpstr>B4P Supported Data Formats</vt:lpstr>
      <vt:lpstr>PowerPoint Presentation</vt:lpstr>
      <vt:lpstr>B4P Real-world Use Case #1 Corporate data integration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PowerPoint Presentation</vt:lpstr>
      <vt:lpstr>B4P: The Language Key Benefits of a Low-Code Language Approach</vt:lpstr>
      <vt:lpstr>B4P: The Language Language Syntax and Semantics</vt:lpstr>
      <vt:lpstr>PowerPoint Presentation</vt:lpstr>
      <vt:lpstr>B4P Program Example 1 Problem Statement: Merging Two Tables</vt:lpstr>
      <vt:lpstr>B4P Program Example 1 8 statements:  load, clean, align semantics, merge, and save</vt:lpstr>
      <vt:lpstr>B4P Program Example 1 7 additional statements to add style to the Excel file</vt:lpstr>
      <vt:lpstr>B4P Program Example 2 U.S. Presidents from Wikipedia</vt:lpstr>
      <vt:lpstr>B4P Program Example 2 16 Statements, 0 Loops and 0 Variables to Straighten up the Presidents</vt:lpstr>
      <vt:lpstr>B4P Program Example 3 Stock Data (SP 500 and NASDAQ 100) Combined</vt:lpstr>
      <vt:lpstr>B4P Program Example 3 13 Statements, 1 loop and 1 variable do the Job</vt:lpstr>
      <vt:lpstr>B4P Program Example 3 8 additional statements for style and color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40</cp:revision>
  <cp:lastPrinted>2012-05-04T14:30:29Z</cp:lastPrinted>
  <dcterms:created xsi:type="dcterms:W3CDTF">2016-02-06T20:40:56Z</dcterms:created>
  <dcterms:modified xsi:type="dcterms:W3CDTF">2021-05-20T14:11:24Z</dcterms:modified>
</cp:coreProperties>
</file>